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333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780285288482008E-2"/>
          <c:y val="5.3986710963455149E-2"/>
          <c:w val="0.90972961464764746"/>
          <c:h val="0.8131229235880398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trendline>
            <c:spPr>
              <a:ln w="12700" cmpd="sng" algn="ctr">
                <a:solidFill>
                  <a:schemeClr val="accent1"/>
                </a:solidFill>
                <a:prstDash val="lgDash"/>
              </a:ln>
            </c:spPr>
            <c:trendlineType val="linear"/>
            <c:forward val="4.5071161048689126"/>
            <c:dispRSqr val="0"/>
            <c:dispEq val="0"/>
          </c:trendline>
          <c:xVal>
            <c:numRef>
              <c:f>Sheet1!$A$1:$A$10</c:f>
              <c:numCache>
                <c:formatCode>General</c:formatCode>
                <c:ptCount val="10"/>
                <c:pt idx="0">
                  <c:v>0.5</c:v>
                </c:pt>
                <c:pt idx="1">
                  <c:v>2.2999999999999998</c:v>
                </c:pt>
                <c:pt idx="2">
                  <c:v>1.7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0.6</c:v>
                </c:pt>
                <c:pt idx="1">
                  <c:v>3.2</c:v>
                </c:pt>
                <c:pt idx="2">
                  <c:v>1.2</c:v>
                </c:pt>
                <c:pt idx="3">
                  <c:v>4</c:v>
                </c:pt>
                <c:pt idx="4">
                  <c:v>1</c:v>
                </c:pt>
                <c:pt idx="5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0BB-44E1-8F97-E302B01ABA1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3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</c:marker>
          <c:trendline>
            <c:spPr>
              <a:ln w="12700" cmpd="sng" algn="ctr">
                <a:solidFill>
                  <a:schemeClr val="accent3"/>
                </a:solidFill>
                <a:prstDash val="lgDash"/>
              </a:ln>
            </c:spPr>
            <c:trendlineType val="linear"/>
            <c:backward val="1.967741935483871"/>
            <c:dispRSqr val="0"/>
            <c:dispEq val="0"/>
          </c:trendline>
          <c:xVal>
            <c:numRef>
              <c:f>Sheet1!$A$1:$A$10</c:f>
              <c:numCache>
                <c:formatCode>General</c:formatCode>
                <c:ptCount val="10"/>
                <c:pt idx="6">
                  <c:v>6</c:v>
                </c:pt>
                <c:pt idx="7">
                  <c:v>7</c:v>
                </c:pt>
                <c:pt idx="8">
                  <c:v>9</c:v>
                </c:pt>
                <c:pt idx="9">
                  <c:v>7</c:v>
                </c:pt>
              </c:numCache>
            </c:numRef>
          </c:xVal>
          <c:yVal>
            <c:numRef>
              <c:f>Sheet1!$C$1:$C$10</c:f>
              <c:numCache>
                <c:formatCode>General</c:formatCode>
                <c:ptCount val="10"/>
                <c:pt idx="6">
                  <c:v>3</c:v>
                </c:pt>
                <c:pt idx="7">
                  <c:v>4</c:v>
                </c:pt>
                <c:pt idx="8">
                  <c:v>8</c:v>
                </c:pt>
                <c:pt idx="9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0BB-44E1-8F97-E302B01ABA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0017663"/>
        <c:axId val="1"/>
      </c:scatterChart>
      <c:valAx>
        <c:axId val="2070017663"/>
        <c:scaling>
          <c:orientation val="minMax"/>
          <c:max val="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zh-CN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zh-CN"/>
          </a:p>
        </c:txPr>
        <c:crossAx val="2070017663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470F05-0108-4BCE-8FDF-B5C567940DBC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6F14BE-E6FD-4D65-BF04-924F9C23D3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3467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085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C3C42A-8CD0-40E3-8053-DDFD4F2E61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E790B7C-7DE6-4668-B9E3-889C42FAA1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3BC2849-36B9-4F6E-860E-82B2E9725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3BE1799-028D-4F6D-918F-2B443CE86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9D99ACA-B900-4285-8BAA-1CE24C646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0723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E979C8-1603-4B9D-B4D0-D190769FB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3E9CE5EA-75C1-4524-AC56-852759E8E1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DE722CB-7DD4-4DFA-BE5E-DE0451A4B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C005E20-699C-4A56-893B-C8316B834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713BFA3-1372-4D77-824D-2A2C63E87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3850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3783655-7401-42BC-9804-C759BF870F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AE33B97-6AD4-4D21-ADD7-78BBF9F684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AA4F6DA-69FE-4656-B7FC-5659A5A65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C9EE880-B092-491C-B21F-A43CBB34A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6B39CD1-2CCF-4562-9553-426887638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5059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7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14757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89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1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593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20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F893A9-2907-4465-9AA5-2FE72B23B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615E31E-0025-459A-8722-7F19071FC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189FB81-809C-4529-A35A-785DDDCC0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A4560D-8C50-4F0C-A3F0-C3BBB601A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48E0A68-23F0-4549-8042-43758A620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7113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8FA0773-0C9C-4656-91DC-6B722C0DA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19DF420-9D18-494F-B99A-76F5590D5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75A9640-285E-4006-BDA2-4B4446202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2326F70-E6E9-44EB-969E-AD15A0E0D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F135E34-9B7A-43DF-9ED5-DBFE5180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3693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9B176AC-4A6C-4785-B150-12587884C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7740E5B-85E9-414B-BBED-4F09993DEB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2D7474C-5C81-40A3-8E0A-B0AE8A4B3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C9A580E-A389-4E23-BA53-4F524072E5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2CFF877-D431-4600-95F3-9991CFA79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ED8A6A1-A30F-4BC5-9B33-BAD1F0DF2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7176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CE15FF-FA08-4096-83B0-0ED587E03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6F9F19A-33C9-441B-8AC8-8E4F5064DB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1505A63-A622-447B-ADBB-65EE46E9B9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8065B57-E650-446E-B09F-7890A78075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B22C942D-6DCA-4C77-B669-8CB7B158BC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156CAA33-1358-4BAE-A5A6-6DF643BB0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C397D95-F842-46DE-AB8D-A334175B7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D664EDCA-4090-43DC-85F8-A5F817AA2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3894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0842731-F2CF-4946-BB6E-157115CF8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5EFE6C8-0A15-4146-A4E7-76B1E3223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E417DB-0E6B-4799-AE8B-68E7E9FA1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E8FD112-DDBF-4D93-8A38-DEF024AAE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3346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406BB0-A59D-4D2D-A13E-1006986E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2742D32-1282-48B7-A698-499A52DA4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D024B32-550A-4A38-BA8A-B71116BFB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13708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1ABA6-11B9-4EFD-B6BA-65D6531FF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9F20016-D86D-4E46-B2E4-01C0D2B250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5634AF6-B49F-4216-BFD9-8F400BAAA4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6BAF910-6DCF-40C5-893F-A718F6239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014F8E9-EEEF-447B-A107-846E3B3C35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D65CA52-6C7E-4176-874A-A6F066E19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4275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BADA77-3FCE-40A2-9CEF-D64EFDC1E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6748D82D-ACF7-4989-BACC-1952AEA047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C24680C-44DC-4FD8-91C3-264ADE9F1E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34C07BB-6DD3-45E4-8478-9BB95739F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18B5E9-9B9D-4E7F-A3E1-03E2E90F9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22BFE8C-5082-4946-B72C-2C550B18B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0688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B7E740BF-F481-4CFE-A5DB-6E7F18CC0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9DF349F-91E5-4E0F-960D-BC81D465EC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7FB7EFE-710D-43A0-889D-9FCC0087F0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760AAA-CFA3-4488-9BFC-4E5DD05035C6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0E277F7-7F9E-4F2A-92B5-B88AB87D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92DAD7A-5DEC-470F-BA99-CA4A6AA4E8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33902B-D937-447C-B242-D52F09C429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466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24334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Layout" Target="../slideLayouts/slideLayout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4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2" imgW="349" imgH="350" progId="TCLayout.ActiveDocument.1">
                  <p:embed/>
                </p:oleObj>
              </mc:Choice>
              <mc:Fallback>
                <p:oleObj name="think-cell 幻灯片" r:id="rId2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421E7D68-2F58-4A0B-A6D9-FC36CB07603B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54000" y="2111375"/>
          <a:ext cx="7456488" cy="3822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5" name="Rechteck 4">
            <a:extLst>
              <a:ext uri="{FF2B5EF4-FFF2-40B4-BE49-F238E27FC236}">
                <a16:creationId xmlns:a16="http://schemas.microsoft.com/office/drawing/2014/main" id="{4E345DF5-1E99-DBD4-6E41-4626153BBE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600950" y="5319713"/>
            <a:ext cx="614363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790B94-2AD1-4B03-B5E7-FFD9335EF862}" type="datetime'Q''''ual''i''''''''''''''''''''''''''ty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Quality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C046D1CD-08D7-E633-9DE2-2A9F89AA147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413" y="1855788"/>
            <a:ext cx="436563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454BB7-27B7-4329-99DB-BAB811E7009B}" type="datetime'Pr''''''''''''''''i''''''''''''c''''''e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Pric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2" name="Rechteck 37">
            <a:extLst>
              <a:ext uri="{FF2B5EF4-FFF2-40B4-BE49-F238E27FC236}">
                <a16:creationId xmlns:a16="http://schemas.microsoft.com/office/drawing/2014/main" id="{4E3D3663-495F-551B-B0C8-FACF4E2DC98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11249" y="5086350"/>
            <a:ext cx="8270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60542-EF27-4A0A-8D66-6D474E00615D}" type="datetime'''B''''e''n''e''''''''''''''tt''''''''''o''n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Benetton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 useBgFill="1">
        <p:nvSpPr>
          <p:cNvPr id="18" name="Rechteck 38">
            <a:extLst>
              <a:ext uri="{FF2B5EF4-FFF2-40B4-BE49-F238E27FC236}">
                <a16:creationId xmlns:a16="http://schemas.microsoft.com/office/drawing/2014/main" id="{682A37F8-9949-6871-CD56-DE751E61BC06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468562" y="4076700"/>
            <a:ext cx="495300" cy="212725"/>
          </a:xfrm>
          <a:prstGeom prst="rect">
            <a:avLst/>
          </a:prstGeom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6644A7-9A0E-4D6B-AB41-8125F7EEDFA4}" type="datetime'''''''''''''''''''''''''M''e''''''''''''''x''''''x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exx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6" name="Rechteck 39">
            <a:extLst>
              <a:ext uri="{FF2B5EF4-FFF2-40B4-BE49-F238E27FC236}">
                <a16:creationId xmlns:a16="http://schemas.microsoft.com/office/drawing/2014/main" id="{6FBE9FEC-A2BE-5A6E-E09A-3D05B72FB40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16125" y="4852988"/>
            <a:ext cx="4603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A89A7-EE49-4C9B-99A2-657895704DAC}" type="datetime'''''''''''''''''''''''''''''''Z''''''''a''ra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Zara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314067ED-A662-6889-7784-2CE68237600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257800" y="4154488"/>
            <a:ext cx="476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5037DC4C-9BA9-443C-8467-FF51B3576E30}" type="datetime'''''''''''''''H''&amp;''''''M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H&amp;M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88D71C10-D70E-6775-01B8-5E32D0C9648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010275" y="3765550"/>
            <a:ext cx="735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BD3C9F77-43E1-4B1D-BD99-EA0FDDEAFBAF}" type="datetime'''''''''''''''''''''K''''enve''''''''l''''''o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Kenvelo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EECE6E5C-BE1B-46B9-22E5-F6B2C5EA153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243137" y="3765550"/>
            <a:ext cx="444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6312AF86-7541-4D5D-8002-1FC208626378}" type="datetime'''''''''''Ne''''''''x''''''''''''''''''''''''''''''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Next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90433FE-0A4F-12D5-BD03-686641B4396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995613" y="4930775"/>
            <a:ext cx="10445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DA781A33-B853-47B0-933E-AD1860E9803D}" type="datetime'''''Ne''''w'' ''''Y''''''''o''''''''''''rk''e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New Yorker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370538B1-EC70-A321-BC70-97A13169849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80213" y="2322513"/>
            <a:ext cx="608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6F94BD24-46DE-45D4-9DCD-4DEF2CEE7E83}" type="datetime'''''''''''''''''''''O''''''''''''''''''''r''w''''e''''l''l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Orwell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22" name="Rectangle 2">
            <a:extLst>
              <a:ext uri="{FF2B5EF4-FFF2-40B4-BE49-F238E27FC236}">
                <a16:creationId xmlns:a16="http://schemas.microsoft.com/office/drawing/2014/main" id="{7CD7AFC0-226D-8EB2-06E6-4D56B0A6975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995613" y="3376613"/>
            <a:ext cx="5429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5EA57B14-8529-43FD-A455-A9573FC27E61}" type="datetime'''Es''p''''''''''''''''r''''''''''''i''''t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Esprit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DD4E064C-D878-FD56-9168-F8D4CAB7515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010275" y="2989263"/>
            <a:ext cx="5635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Wingdings 2" pitchFamily="18" charset="2"/>
              <a:buNone/>
              <a:tabLst/>
              <a:defRPr/>
            </a:pPr>
            <a:fld id="{81EEBA09-62E2-4985-B696-5942A9543007}" type="datetime'''''Or''sa''''''''''''''''''y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Wingdings 2" pitchFamily="18" charset="2"/>
                <a:buNone/>
                <a:tabLst/>
                <a:defRPr/>
              </a:pPr>
              <a:t>Orsay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/>
            </a:endParaRPr>
          </a:p>
        </p:txBody>
      </p:sp>
      <p:sp>
        <p:nvSpPr>
          <p:cNvPr id="24" name="Oval 31">
            <a:extLst>
              <a:ext uri="{FF2B5EF4-FFF2-40B4-BE49-F238E27FC236}">
                <a16:creationId xmlns:a16="http://schemas.microsoft.com/office/drawing/2014/main" id="{40CCD6D5-A08A-5A95-8C4D-728613390378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933700" y="5827713"/>
            <a:ext cx="88900" cy="889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Oval 32">
            <a:extLst>
              <a:ext uri="{FF2B5EF4-FFF2-40B4-BE49-F238E27FC236}">
                <a16:creationId xmlns:a16="http://schemas.microsoft.com/office/drawing/2014/main" id="{928EE285-D6AC-9F56-E217-EBDB20A6BC8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2719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Master text box">
            <a:extLst>
              <a:ext uri="{FF2B5EF4-FFF2-40B4-BE49-F238E27FC236}">
                <a16:creationId xmlns:a16="http://schemas.microsoft.com/office/drawing/2014/main" id="{BE1A8A84-64AD-685A-3862-E0173472ADB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154362" y="5773738"/>
            <a:ext cx="935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08080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fld id="{BED7623C-5277-4337-B29B-69E5D9C8F160}" type="datetime'''L''''''''''ow''''''''''''er''''''''''''''-e''n''''''d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t>Lower-end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7" name="Master text box">
            <a:extLst>
              <a:ext uri="{FF2B5EF4-FFF2-40B4-BE49-F238E27FC236}">
                <a16:creationId xmlns:a16="http://schemas.microsoft.com/office/drawing/2014/main" id="{3453F465-1A12-9630-B9F4-53521F7EC4F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492625" y="5773738"/>
            <a:ext cx="985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08080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fld id="{DD1EBCDD-7192-4088-9E54-F6AC8F05E359}" type="datetime'''Hi''''''''gh''''''''''''e''''r''''''''''-end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08080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t>Higher-end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6583831-7B3B-2C45-DA7F-7DCC41B3FBF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256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comments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B6C58EC5-B426-BBEA-E7D8-1C5D382BC31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001A19D6-5434-860F-F36E-01B1747023A7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63ECBEDC-1F96-C966-D7D0-CEFA89E7375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CCE0BBDA-0220-016A-04A9-35C2672907A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87179BAC-503D-6F97-BF2B-E9A1803C339A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FBD5E813-9BC6-50D8-0966-C2DFE7563BF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EB49D036-530B-5DE8-F13F-349AEB96E862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18">
            <a:extLst>
              <a:ext uri="{FF2B5EF4-FFF2-40B4-BE49-F238E27FC236}">
                <a16:creationId xmlns:a16="http://schemas.microsoft.com/office/drawing/2014/main" id="{8460E732-BDEB-E321-B3D6-352A328EB2BD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, trendlines/partition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5D86FF87-6CCB-461F-AEAA-27CFF35BF456}"/>
              </a:ext>
            </a:extLst>
          </p:cNvPr>
          <p:cNvSpPr txBox="1"/>
          <p:nvPr/>
        </p:nvSpPr>
        <p:spPr>
          <a:xfrm>
            <a:off x="5478463" y="123289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插入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2072423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dyW8n9bTmtE1ViD93X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gIpjdXhGHY5YaLWU0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HF1fBShhawrE7wLtci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Ag6xeTVpmCdY8zAjD23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rrhlq0d9LXwDhC.ZN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TXyu.WMIHfLcn6ue4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F60Qjh6mEIflXt8wPT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sWhVuiufp7vb0EJpj3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Xj.TpbQBbGQQy5Ul3C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S72N3eb7lDRfIY5wop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io.FsH1bxxCyYUjxf3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lFj66WyRJsdk8YRso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1Y4Y4mKQP5ueW3LnsG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8KSKOSb5AwHlaO1scF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vU__XtOf8Rbma6jbh0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y2f5TszWdODdbas8aj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eQyYg58A97PoIekHsy6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5</Words>
  <Application>Microsoft Office PowerPoint</Application>
  <PresentationFormat>宽屏</PresentationFormat>
  <Paragraphs>2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Wingdings 2</vt:lpstr>
      <vt:lpstr>Office 主题​​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19:42Z</dcterms:created>
  <dcterms:modified xsi:type="dcterms:W3CDTF">2025-09-10T07:20:32Z</dcterms:modified>
</cp:coreProperties>
</file>